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7"/>
  </p:notesMasterIdLst>
  <p:sldIdLst>
    <p:sldId id="2597" r:id="rId2"/>
    <p:sldId id="2691" r:id="rId3"/>
    <p:sldId id="2667" r:id="rId4"/>
    <p:sldId id="2616" r:id="rId5"/>
    <p:sldId id="2668" r:id="rId6"/>
    <p:sldId id="2618" r:id="rId7"/>
    <p:sldId id="2669" r:id="rId8"/>
    <p:sldId id="2670" r:id="rId9"/>
    <p:sldId id="2671" r:id="rId10"/>
    <p:sldId id="2672" r:id="rId11"/>
    <p:sldId id="2673" r:id="rId12"/>
    <p:sldId id="2674" r:id="rId13"/>
    <p:sldId id="2675" r:id="rId14"/>
    <p:sldId id="2676" r:id="rId15"/>
    <p:sldId id="2677" r:id="rId16"/>
    <p:sldId id="2682" r:id="rId17"/>
    <p:sldId id="2683" r:id="rId18"/>
    <p:sldId id="2685" r:id="rId19"/>
    <p:sldId id="2684" r:id="rId20"/>
    <p:sldId id="2689" r:id="rId21"/>
    <p:sldId id="2688" r:id="rId22"/>
    <p:sldId id="2690" r:id="rId23"/>
    <p:sldId id="2678" r:id="rId24"/>
    <p:sldId id="2680" r:id="rId25"/>
    <p:sldId id="274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7"/>
          </p14:sldIdLst>
        </p14:section>
        <p14:section name="Textfolien" id="{32261FCD-A1CF-421E-AAD7-61F8B72BFF9D}">
          <p14:sldIdLst>
            <p14:sldId id="2691"/>
            <p14:sldId id="2667"/>
            <p14:sldId id="2616"/>
            <p14:sldId id="2668"/>
            <p14:sldId id="2618"/>
            <p14:sldId id="2669"/>
            <p14:sldId id="2670"/>
            <p14:sldId id="2671"/>
            <p14:sldId id="2672"/>
            <p14:sldId id="2673"/>
            <p14:sldId id="2674"/>
            <p14:sldId id="2675"/>
            <p14:sldId id="2676"/>
            <p14:sldId id="2677"/>
            <p14:sldId id="2682"/>
            <p14:sldId id="2683"/>
            <p14:sldId id="2685"/>
            <p14:sldId id="2684"/>
            <p14:sldId id="2689"/>
            <p14:sldId id="2688"/>
            <p14:sldId id="2690"/>
            <p14:sldId id="2678"/>
            <p14:sldId id="2680"/>
            <p14:sldId id="274"/>
          </p14:sldIdLst>
        </p14:section>
        <p14:section name="Schlussfolien" id="{70B6E138-C28E-4A5D-AAB7-7C10B7242A6D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493C24-686E-EC92-F83C-E140F7CA7702}" name="Sofia Hilt" initials="SH" userId="S::sofia.hilt@uni-a.de::5380e503-3859-480a-a345-c1539a4571d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git Reß" initials="BR" lastIdx="2" clrIdx="0">
    <p:extLst>
      <p:ext uri="{19B8F6BF-5375-455C-9EA6-DF929625EA0E}">
        <p15:presenceInfo xmlns:p15="http://schemas.microsoft.com/office/powerpoint/2012/main" userId="S::birgit.ress@uni-a.de::3d2d47bf-c8fe-4cf3-bff2-bfb18177d4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72" autoAdjust="0"/>
    <p:restoredTop sz="94243" autoAdjust="0"/>
  </p:normalViewPr>
  <p:slideViewPr>
    <p:cSldViewPr snapToGrid="0">
      <p:cViewPr varScale="1">
        <p:scale>
          <a:sx n="119" d="100"/>
          <a:sy n="119" d="100"/>
        </p:scale>
        <p:origin x="300" y="114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13" Type="http://schemas.openxmlformats.org/officeDocument/2006/relationships/slide" Target="slides/slide14.xml"/><Relationship Id="rId18" Type="http://schemas.openxmlformats.org/officeDocument/2006/relationships/slide" Target="slides/slide19.xml"/><Relationship Id="rId3" Type="http://schemas.openxmlformats.org/officeDocument/2006/relationships/slide" Target="slides/slide4.xml"/><Relationship Id="rId21" Type="http://schemas.openxmlformats.org/officeDocument/2006/relationships/slide" Target="slides/slide22.xml"/><Relationship Id="rId7" Type="http://schemas.openxmlformats.org/officeDocument/2006/relationships/slide" Target="slides/slide8.xml"/><Relationship Id="rId12" Type="http://schemas.openxmlformats.org/officeDocument/2006/relationships/slide" Target="slides/slide13.xml"/><Relationship Id="rId17" Type="http://schemas.openxmlformats.org/officeDocument/2006/relationships/slide" Target="slides/slide18.xml"/><Relationship Id="rId2" Type="http://schemas.openxmlformats.org/officeDocument/2006/relationships/slide" Target="slides/slide3.xml"/><Relationship Id="rId16" Type="http://schemas.openxmlformats.org/officeDocument/2006/relationships/slide" Target="slides/slide17.xml"/><Relationship Id="rId20" Type="http://schemas.openxmlformats.org/officeDocument/2006/relationships/slide" Target="slides/slide21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1" Type="http://schemas.openxmlformats.org/officeDocument/2006/relationships/slide" Target="slides/slide12.xml"/><Relationship Id="rId5" Type="http://schemas.openxmlformats.org/officeDocument/2006/relationships/slide" Target="slides/slide6.xml"/><Relationship Id="rId15" Type="http://schemas.openxmlformats.org/officeDocument/2006/relationships/slide" Target="slides/slide16.xml"/><Relationship Id="rId23" Type="http://schemas.openxmlformats.org/officeDocument/2006/relationships/slide" Target="slides/slide24.xml"/><Relationship Id="rId10" Type="http://schemas.openxmlformats.org/officeDocument/2006/relationships/slide" Target="slides/slide11.xml"/><Relationship Id="rId19" Type="http://schemas.openxmlformats.org/officeDocument/2006/relationships/slide" Target="slides/slide20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4" Type="http://schemas.openxmlformats.org/officeDocument/2006/relationships/slide" Target="slides/slide15.xml"/><Relationship Id="rId22" Type="http://schemas.openxmlformats.org/officeDocument/2006/relationships/slide" Target="slides/slide2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4.03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581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>
                <a:effectLst/>
                <a:latin typeface="Segoe UI" panose="020B0502040204020203" pitchFamily="34" charset="0"/>
              </a:rPr>
              <a:t>EU-Bürger (+ Schweiz, Norwegen, Irland, Liechtenstein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unbefristete Aufenthaltserlaubnis (§ 7a AufenthG/EWG) oder Daueraufenthaltserlaubnis (§ 5 Abs. 5 </a:t>
            </a:r>
            <a:r>
              <a:rPr lang="de-DE" sz="1800" dirty="0" err="1">
                <a:effectLst/>
                <a:latin typeface="Segoe UI" panose="020B0502040204020203" pitchFamily="34" charset="0"/>
              </a:rPr>
              <a:t>FreizügG</a:t>
            </a:r>
            <a:r>
              <a:rPr lang="de-DE" sz="1800" dirty="0">
                <a:effectLst/>
                <a:latin typeface="Segoe UI" panose="020B0502040204020203" pitchFamily="34" charset="0"/>
              </a:rPr>
              <a:t>/EU).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als Arbeitnehmer freizügigkeitsberechtigt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verheiratet mi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in Elternteil is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rwerbstätigkeit in Deutschland vor dem Studium (thematischer Bezug!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168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4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644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Studienvorbereitungskurs 2023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9" r:id="rId4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8.xml"/><Relationship Id="rId21" Type="http://schemas.openxmlformats.org/officeDocument/2006/relationships/image" Target="../media/image13.sv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29" Type="http://schemas.openxmlformats.org/officeDocument/2006/relationships/image" Target="../media/image2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6.png"/><Relationship Id="rId5" Type="http://schemas.openxmlformats.org/officeDocument/2006/relationships/tags" Target="../tags/tag10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5.xml"/><Relationship Id="rId19" Type="http://schemas.openxmlformats.org/officeDocument/2006/relationships/image" Target="../media/image11.svg"/><Relationship Id="rId31" Type="http://schemas.openxmlformats.org/officeDocument/2006/relationships/image" Target="../media/image23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Relationship Id="rId27" Type="http://schemas.openxmlformats.org/officeDocument/2006/relationships/image" Target="../media/image19.svg"/><Relationship Id="rId30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www.uni-augsburg.de/en/portal/faust-en/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studierendenwerk-augsburg.de/sprechzeiten/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www.studierendenjobs.de/" TargetMode="Externa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://www.studierendenjobs.de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jobmensa.de/studentenjobs/augsburg" TargetMode="External"/><Relationship Id="rId2" Type="http://schemas.openxmlformats.org/officeDocument/2006/relationships/hyperlink" Target="https://www.buhl-gps.de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-augsburg.de/en/portal/internationals/abschluss/study-preparation-course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www.jobportal-augsburg.de/uacc/index.php?lang=2" TargetMode="Externa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-augsburg.de/de/organisation/einrichtungen/career-service/veranstaltungsubersicht/" TargetMode="External"/><Relationship Id="rId2" Type="http://schemas.openxmlformats.org/officeDocument/2006/relationships/hyperlink" Target="http://www.uni-augsburg.de/de/organisation/einrichtungen/career-service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-augsburg.de/en/portal/internationals/abschluss/study-preparation-course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mediendienst-integration.de/integration/hochschule.html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-augsburg.de/de/studium/studieren-augsburg/stipendien/das-deutschlandstipendium/" TargetMode="External"/><Relationship Id="rId2" Type="http://schemas.openxmlformats.org/officeDocument/2006/relationships/hyperlink" Target="https://www.deutschlandstipendium.de/deutschlandstipendium/de/services/english/the-deutschlandstipendium-best-of-both-worlds-for-students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ipendiumplus.de/" TargetMode="External"/><Relationship Id="rId2" Type="http://schemas.openxmlformats.org/officeDocument/2006/relationships/hyperlink" Target="https://www2.daad.de/deutschland/stipendium/datenbank/en/21148-scholarship-database/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begabungslotse.de/themen/stipendium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ierendenwerk-augsburg.de/bafoe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hyperlink" Target="https://www.stw.berlin/en/baf%C3%B6g/baf%C3%B6g-faq/20.-baf%C3%B6g-for-international-students.html" TargetMode="External"/><Relationship Id="rId4" Type="http://schemas.openxmlformats.org/officeDocument/2006/relationships/hyperlink" Target="https://www.mystipendium.de/bafoeg/bafoeg-fuer-auslaend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platzhalter 21">
            <a:extLst>
              <a:ext uri="{FF2B5EF4-FFF2-40B4-BE49-F238E27FC236}">
                <a16:creationId xmlns:a16="http://schemas.microsoft.com/office/drawing/2014/main" id="{8E9AA76E-8ADD-6D4A-91B2-4B2D0F33372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Financing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Studie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Logo_Basis_neg.">
            <a:extLst>
              <a:ext uri="{FF2B5EF4-FFF2-40B4-BE49-F238E27FC236}">
                <a16:creationId xmlns:a16="http://schemas.microsoft.com/office/drawing/2014/main" id="{7D80C419-C297-436A-A6B3-A4816AB10A2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6" name="Logo_FAI_neg." hidden="1">
            <a:extLst>
              <a:ext uri="{FF2B5EF4-FFF2-40B4-BE49-F238E27FC236}">
                <a16:creationId xmlns:a16="http://schemas.microsoft.com/office/drawing/2014/main" id="{6FF63114-56C5-42BD-A30E-4A8A041D963B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8" name="Logo_JUF_neg." hidden="1">
            <a:extLst>
              <a:ext uri="{FF2B5EF4-FFF2-40B4-BE49-F238E27FC236}">
                <a16:creationId xmlns:a16="http://schemas.microsoft.com/office/drawing/2014/main" id="{12D01AA4-A110-4EED-BDC2-48CD85A18965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0" name="Logo_KTF_neg." hidden="1">
            <a:extLst>
              <a:ext uri="{FF2B5EF4-FFF2-40B4-BE49-F238E27FC236}">
                <a16:creationId xmlns:a16="http://schemas.microsoft.com/office/drawing/2014/main" id="{C236EC7F-8ECB-417A-8C4D-1249D14DDA21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2" name="Logo_MEF_neg." hidden="1">
            <a:extLst>
              <a:ext uri="{FF2B5EF4-FFF2-40B4-BE49-F238E27FC236}">
                <a16:creationId xmlns:a16="http://schemas.microsoft.com/office/drawing/2014/main" id="{8E1EEB64-B530-4DC3-9522-19F88C657C62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4" name="Logo_MNTF_neg." hidden="1">
            <a:extLst>
              <a:ext uri="{FF2B5EF4-FFF2-40B4-BE49-F238E27FC236}">
                <a16:creationId xmlns:a16="http://schemas.microsoft.com/office/drawing/2014/main" id="{B6B5FE23-7140-4471-AB48-4BE26E31E0D9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PHF_neg." hidden="1">
            <a:extLst>
              <a:ext uri="{FF2B5EF4-FFF2-40B4-BE49-F238E27FC236}">
                <a16:creationId xmlns:a16="http://schemas.microsoft.com/office/drawing/2014/main" id="{A4780CB1-6931-49F3-9616-C13A7B14B65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PSF_neg." hidden="1">
            <a:extLst>
              <a:ext uri="{FF2B5EF4-FFF2-40B4-BE49-F238E27FC236}">
                <a16:creationId xmlns:a16="http://schemas.microsoft.com/office/drawing/2014/main" id="{FDDB11E7-6BF4-4E4A-BC05-ED11864FC682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WWF_neg." hidden="1">
            <a:extLst>
              <a:ext uri="{FF2B5EF4-FFF2-40B4-BE49-F238E27FC236}">
                <a16:creationId xmlns:a16="http://schemas.microsoft.com/office/drawing/2014/main" id="{5EA5973E-3F3A-451F-A766-CB39013D77D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65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Financial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assistanc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mergencies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de-DE" altLang="de-DE" sz="2000" b="1" dirty="0">
                <a:solidFill>
                  <a:srgbClr val="AD007C"/>
                </a:solidFill>
              </a:rPr>
              <a:t>f.au.st e.V.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en-US" altLang="de-DE" dirty="0">
                <a:solidFill>
                  <a:schemeClr val="tx1"/>
                </a:solidFill>
              </a:rPr>
              <a:t>can quickly provide assistance if talented international students from lower-income countries need financial aid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sz="2000" dirty="0">
                <a:solidFill>
                  <a:schemeClr val="tx1"/>
                </a:solidFill>
              </a:rPr>
              <a:t>Scholarships (</a:t>
            </a:r>
            <a:r>
              <a:rPr lang="de-DE" altLang="de-DE" dirty="0">
                <a:solidFill>
                  <a:schemeClr val="tx1"/>
                </a:solidFill>
              </a:rPr>
              <a:t>limited</a:t>
            </a:r>
            <a:r>
              <a:rPr lang="de-DE" altLang="de-DE" sz="2000" dirty="0">
                <a:solidFill>
                  <a:schemeClr val="tx1"/>
                </a:solidFill>
              </a:rPr>
              <a:t>)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dirty="0">
                <a:solidFill>
                  <a:schemeClr val="tx1"/>
                </a:solidFill>
              </a:rPr>
              <a:t>Student </a:t>
            </a:r>
            <a:r>
              <a:rPr lang="de-DE" altLang="de-DE" dirty="0" err="1">
                <a:solidFill>
                  <a:schemeClr val="tx1"/>
                </a:solidFill>
              </a:rPr>
              <a:t>grants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dirty="0" err="1">
                <a:solidFill>
                  <a:schemeClr val="tx1"/>
                </a:solidFill>
              </a:rPr>
              <a:t>mainly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loans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accent5">
                    <a:lumMod val="50000"/>
                  </a:schemeClr>
                </a:solidFill>
                <a:hlinkClick r:id="rId2"/>
              </a:rPr>
              <a:t>https://www.uni-augsburg.de/en/portal/faust-en/</a:t>
            </a:r>
            <a:r>
              <a:rPr lang="de-DE" altLang="de-DE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95140A4-A90D-4465-A0C2-AEE6CFC93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2455" y="2977761"/>
            <a:ext cx="2371550" cy="176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221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udent Jobs – Legal Basics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chemeClr val="tx1"/>
                </a:solidFill>
              </a:rPr>
              <a:t>Non-EU citizens (residing under </a:t>
            </a:r>
            <a:r>
              <a:rPr lang="de-DE" altLang="de-DE" dirty="0">
                <a:solidFill>
                  <a:schemeClr val="tx1"/>
                </a:solidFill>
              </a:rPr>
              <a:t>§16b</a:t>
            </a:r>
            <a:r>
              <a:rPr lang="en-US" altLang="de-DE" dirty="0">
                <a:solidFill>
                  <a:schemeClr val="tx1"/>
                </a:solidFill>
              </a:rPr>
              <a:t>) have been permitted to work </a:t>
            </a:r>
            <a:r>
              <a:rPr lang="en-US" altLang="de-DE" dirty="0">
                <a:solidFill>
                  <a:srgbClr val="AD007C"/>
                </a:solidFill>
              </a:rPr>
              <a:t>140 full days or 280 half days per year, or 20 hours per week (!!)</a:t>
            </a:r>
            <a:r>
              <a:rPr lang="en-US" altLang="de-DE" dirty="0">
                <a:solidFill>
                  <a:schemeClr val="tx1"/>
                </a:solidFill>
              </a:rPr>
              <a:t>, since June 2024. 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en-US" altLang="de-DE" dirty="0">
                <a:solidFill>
                  <a:schemeClr val="tx1"/>
                </a:solidFill>
              </a:rPr>
              <a:t>If you work more than </a:t>
            </a:r>
            <a:r>
              <a:rPr lang="en-US" altLang="de-DE" dirty="0">
                <a:solidFill>
                  <a:srgbClr val="AD007C"/>
                </a:solidFill>
              </a:rPr>
              <a:t>20 hours a week or have a </a:t>
            </a:r>
            <a:r>
              <a:rPr lang="en-US" altLang="de-DE" u="sng" dirty="0">
                <a:solidFill>
                  <a:srgbClr val="AD007C"/>
                </a:solidFill>
              </a:rPr>
              <a:t>regular</a:t>
            </a:r>
            <a:r>
              <a:rPr lang="en-US" altLang="de-DE" dirty="0">
                <a:solidFill>
                  <a:srgbClr val="AD007C"/>
                </a:solidFill>
              </a:rPr>
              <a:t> income of over 603 euros per month</a:t>
            </a:r>
            <a:r>
              <a:rPr lang="en-US" altLang="de-DE" dirty="0">
                <a:solidFill>
                  <a:schemeClr val="tx1"/>
                </a:solidFill>
              </a:rPr>
              <a:t>, you no longer qualify as a “student.” This could lead to problems with your student health insurance. 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dirty="0">
                <a:solidFill>
                  <a:schemeClr val="tx1"/>
                </a:solidFill>
              </a:rPr>
              <a:t>EU students working in Germany need German health insurance (the EHIC card is no longer valid in this case)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alt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Consultation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alt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for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alt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questions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: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2000" dirty="0" err="1">
                <a:solidFill>
                  <a:schemeClr val="tx1"/>
                </a:solidFill>
                <a:sym typeface="Wingdings" panose="05000000000000000000" pitchFamily="2" charset="2"/>
              </a:rPr>
              <a:t>b!st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 – Studierendenwerk, 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2"/>
              </a:rPr>
              <a:t>https://studierendenwerk-augsburg.de/sprechzeiten/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US" altLang="de-DE" dirty="0">
                <a:solidFill>
                  <a:schemeClr val="tx1"/>
                </a:solidFill>
                <a:sym typeface="Wingdings" panose="05000000000000000000" pitchFamily="2" charset="2"/>
              </a:rPr>
              <a:t>Check with your health insurance provider 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704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 assistant positions at the university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1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de-DE" altLang="de-DE" sz="2000" dirty="0">
                <a:solidFill>
                  <a:srgbClr val="AD007C"/>
                </a:solidFill>
              </a:rPr>
              <a:t>Hiwi</a:t>
            </a:r>
            <a:r>
              <a:rPr lang="de-DE" altLang="de-DE" sz="2000" dirty="0">
                <a:solidFill>
                  <a:schemeClr val="tx1"/>
                </a:solidFill>
              </a:rPr>
              <a:t> = „</a:t>
            </a:r>
            <a:r>
              <a:rPr lang="de-DE" altLang="de-DE" sz="2000" dirty="0">
                <a:solidFill>
                  <a:srgbClr val="AD007C"/>
                </a:solidFill>
              </a:rPr>
              <a:t>Hi</a:t>
            </a:r>
            <a:r>
              <a:rPr lang="de-DE" altLang="de-DE" sz="2000" dirty="0">
                <a:solidFill>
                  <a:schemeClr val="tx1"/>
                </a:solidFill>
              </a:rPr>
              <a:t>lfs</a:t>
            </a:r>
            <a:r>
              <a:rPr lang="de-DE" altLang="de-DE" sz="2000" dirty="0">
                <a:solidFill>
                  <a:srgbClr val="AD007C"/>
                </a:solidFill>
              </a:rPr>
              <a:t>wi</a:t>
            </a:r>
            <a:r>
              <a:rPr lang="de-DE" altLang="de-DE" sz="2000" dirty="0">
                <a:solidFill>
                  <a:schemeClr val="tx1"/>
                </a:solidFill>
              </a:rPr>
              <a:t>ssenschaftler*in“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en-US" altLang="de-DE" dirty="0">
                <a:solidFill>
                  <a:schemeClr val="tx1"/>
                </a:solidFill>
              </a:rPr>
              <a:t>General term for </a:t>
            </a:r>
            <a:r>
              <a:rPr lang="en-US" altLang="de-DE" i="1" dirty="0">
                <a:solidFill>
                  <a:schemeClr val="tx1"/>
                </a:solidFill>
              </a:rPr>
              <a:t>student</a:t>
            </a:r>
            <a:r>
              <a:rPr lang="en-US" altLang="de-DE" dirty="0">
                <a:solidFill>
                  <a:schemeClr val="tx1"/>
                </a:solidFill>
              </a:rPr>
              <a:t> or </a:t>
            </a:r>
            <a:r>
              <a:rPr lang="en-US" altLang="de-DE" i="1" dirty="0">
                <a:solidFill>
                  <a:schemeClr val="tx1"/>
                </a:solidFill>
              </a:rPr>
              <a:t>research assistan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dirty="0">
                <a:solidFill>
                  <a:schemeClr val="tx1"/>
                </a:solidFill>
              </a:rPr>
              <a:t>Students employed by a department, a professor, a project, or another unit at a university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rgbClr val="AD007C"/>
                </a:solidFill>
              </a:rPr>
              <a:t>Student </a:t>
            </a:r>
            <a:r>
              <a:rPr lang="de-DE" altLang="de-DE" sz="2000" dirty="0" err="1">
                <a:solidFill>
                  <a:srgbClr val="AD007C"/>
                </a:solidFill>
              </a:rPr>
              <a:t>assistant</a:t>
            </a:r>
            <a:r>
              <a:rPr lang="de-DE" altLang="de-DE" sz="2000" dirty="0">
                <a:solidFill>
                  <a:srgbClr val="AD007C"/>
                </a:solidFill>
              </a:rPr>
              <a:t> </a:t>
            </a:r>
            <a:r>
              <a:rPr lang="de-DE" altLang="de-DE" sz="2000" dirty="0">
                <a:solidFill>
                  <a:schemeClr val="tx1"/>
                </a:solidFill>
              </a:rPr>
              <a:t>= </a:t>
            </a:r>
            <a:r>
              <a:rPr lang="de-DE" altLang="de-DE" dirty="0">
                <a:solidFill>
                  <a:srgbClr val="AD007C"/>
                </a:solidFill>
              </a:rPr>
              <a:t>s</a:t>
            </a:r>
            <a:r>
              <a:rPr lang="de-DE" altLang="de-DE" sz="2000" dirty="0">
                <a:solidFill>
                  <a:srgbClr val="AD007C"/>
                </a:solidFill>
              </a:rPr>
              <a:t>tudentische Hilfskraft (SHK) </a:t>
            </a:r>
            <a:r>
              <a:rPr lang="de-DE" altLang="de-DE" sz="2000" dirty="0">
                <a:solidFill>
                  <a:schemeClr val="tx1"/>
                </a:solidFill>
              </a:rPr>
              <a:t>– </a:t>
            </a:r>
            <a:r>
              <a:rPr lang="de-DE" altLang="de-DE" dirty="0" err="1">
                <a:solidFill>
                  <a:schemeClr val="tx1"/>
                </a:solidFill>
              </a:rPr>
              <a:t>has</a:t>
            </a:r>
            <a:r>
              <a:rPr lang="de-DE" altLang="de-DE" dirty="0">
                <a:solidFill>
                  <a:schemeClr val="tx1"/>
                </a:solidFill>
              </a:rPr>
              <a:t> not </a:t>
            </a:r>
            <a:r>
              <a:rPr lang="de-DE" altLang="de-DE" dirty="0" err="1">
                <a:solidFill>
                  <a:schemeClr val="tx1"/>
                </a:solidFill>
              </a:rPr>
              <a:t>yet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graduated</a:t>
            </a:r>
            <a:r>
              <a:rPr lang="de-DE" altLang="de-DE" sz="2000" dirty="0">
                <a:solidFill>
                  <a:schemeClr val="tx1"/>
                </a:solidFill>
              </a:rPr>
              <a:t>, 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</a:rPr>
              <a:t>Income: 14,00 €/h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 err="1">
                <a:solidFill>
                  <a:srgbClr val="AD007C"/>
                </a:solidFill>
              </a:rPr>
              <a:t>Resarch</a:t>
            </a:r>
            <a:r>
              <a:rPr lang="de-DE" altLang="de-DE" sz="2000" dirty="0">
                <a:solidFill>
                  <a:srgbClr val="AD007C"/>
                </a:solidFill>
              </a:rPr>
              <a:t> </a:t>
            </a:r>
            <a:r>
              <a:rPr lang="de-DE" altLang="de-DE" sz="2000" dirty="0" err="1">
                <a:solidFill>
                  <a:srgbClr val="AD007C"/>
                </a:solidFill>
              </a:rPr>
              <a:t>assistant</a:t>
            </a:r>
            <a:r>
              <a:rPr lang="de-DE" altLang="de-DE" sz="2000" dirty="0">
                <a:solidFill>
                  <a:srgbClr val="AD007C"/>
                </a:solidFill>
              </a:rPr>
              <a:t> </a:t>
            </a:r>
            <a:r>
              <a:rPr lang="de-DE" altLang="de-DE" sz="2000" dirty="0">
                <a:solidFill>
                  <a:schemeClr val="tx1"/>
                </a:solidFill>
              </a:rPr>
              <a:t>= </a:t>
            </a:r>
            <a:r>
              <a:rPr lang="de-DE" altLang="de-DE" sz="2000" dirty="0">
                <a:solidFill>
                  <a:srgbClr val="AD007C"/>
                </a:solidFill>
              </a:rPr>
              <a:t>wissenschaftliche Hilfskraft (WHK) </a:t>
            </a:r>
            <a:r>
              <a:rPr lang="de-DE" altLang="de-DE" sz="2000" dirty="0">
                <a:solidFill>
                  <a:schemeClr val="tx1"/>
                </a:solidFill>
              </a:rPr>
              <a:t>–  </a:t>
            </a:r>
            <a:r>
              <a:rPr lang="de-DE" altLang="de-DE" dirty="0" err="1">
                <a:solidFill>
                  <a:schemeClr val="tx1"/>
                </a:solidFill>
              </a:rPr>
              <a:t>with</a:t>
            </a:r>
            <a:r>
              <a:rPr lang="de-DE" altLang="de-DE" dirty="0">
                <a:solidFill>
                  <a:schemeClr val="tx1"/>
                </a:solidFill>
              </a:rPr>
              <a:t> a (</a:t>
            </a:r>
            <a:r>
              <a:rPr lang="de-DE" altLang="de-DE" dirty="0" err="1">
                <a:solidFill>
                  <a:schemeClr val="tx1"/>
                </a:solidFill>
              </a:rPr>
              <a:t>bachelor's</a:t>
            </a:r>
            <a:r>
              <a:rPr lang="de-DE" altLang="de-DE" dirty="0">
                <a:solidFill>
                  <a:schemeClr val="tx1"/>
                </a:solidFill>
              </a:rPr>
              <a:t>) </a:t>
            </a:r>
            <a:r>
              <a:rPr lang="de-DE" altLang="de-DE" dirty="0" err="1">
                <a:solidFill>
                  <a:schemeClr val="tx1"/>
                </a:solidFill>
              </a:rPr>
              <a:t>degree</a:t>
            </a:r>
            <a:r>
              <a:rPr lang="de-DE" altLang="de-DE" sz="2000" dirty="0">
                <a:solidFill>
                  <a:schemeClr val="tx1"/>
                </a:solidFill>
              </a:rPr>
              <a:t>, </a:t>
            </a: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de-DE" altLang="de-DE" sz="2000" dirty="0" err="1">
                <a:solidFill>
                  <a:schemeClr val="tx1"/>
                </a:solidFill>
              </a:rPr>
              <a:t>income</a:t>
            </a:r>
            <a:r>
              <a:rPr lang="de-DE" altLang="de-DE" sz="2000" dirty="0">
                <a:solidFill>
                  <a:schemeClr val="tx1"/>
                </a:solidFill>
              </a:rPr>
              <a:t>: </a:t>
            </a:r>
            <a:r>
              <a:rPr lang="de-DE" altLang="de-DE" dirty="0">
                <a:solidFill>
                  <a:schemeClr val="tx1"/>
                </a:solidFill>
              </a:rPr>
              <a:t>16,00</a:t>
            </a:r>
            <a:r>
              <a:rPr lang="de-DE" altLang="de-DE" sz="2000" dirty="0">
                <a:solidFill>
                  <a:schemeClr val="tx1"/>
                </a:solidFill>
              </a:rPr>
              <a:t> €/h 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dirty="0">
                <a:solidFill>
                  <a:schemeClr val="tx1"/>
                </a:solidFill>
              </a:rPr>
            </a:br>
            <a:r>
              <a:rPr lang="en-US" altLang="de-DE" dirty="0">
                <a:solidFill>
                  <a:schemeClr val="tx1"/>
                </a:solidFill>
              </a:rPr>
              <a:t>Maximum working hours as a student assistant: 86 hours per month 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zählt nicht zu den 140 Tagen, die Nicht-EU-Studierende arbeiten dürfen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572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 assistant positions at the university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2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rgbClr val="AD007C"/>
                </a:solidFill>
              </a:rPr>
              <a:t>Where can you find student assistant positions</a:t>
            </a:r>
            <a:r>
              <a:rPr lang="de-DE" altLang="de-DE" dirty="0">
                <a:solidFill>
                  <a:srgbClr val="AD007C"/>
                </a:solidFill>
              </a:rPr>
              <a:t>?</a:t>
            </a:r>
            <a:b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</a:b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- Studierendenwerk: 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  <a:hlinkClick r:id="rId2"/>
              </a:rPr>
              <a:t>https://www.studierendenjobs.de/</a:t>
            </a: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- </a:t>
            </a:r>
            <a:r>
              <a:rPr lang="de-DE" altLang="de-DE" dirty="0" err="1">
                <a:solidFill>
                  <a:schemeClr val="tx1"/>
                </a:solidFill>
                <a:sym typeface="Wingdings" pitchFamily="2" charset="2"/>
              </a:rPr>
              <a:t>Digicampus</a:t>
            </a: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: „Jobbörse“ (</a:t>
            </a:r>
            <a:r>
              <a:rPr lang="en-US" altLang="de-DE" dirty="0">
                <a:solidFill>
                  <a:schemeClr val="tx1"/>
                </a:solidFill>
                <a:sym typeface="Wingdings" pitchFamily="2" charset="2"/>
              </a:rPr>
              <a:t>student assistant job board and “external” job</a:t>
            </a: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s)</a:t>
            </a:r>
            <a:b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</a:b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de-DE" altLang="de-DE" sz="2000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- </a:t>
            </a:r>
            <a:r>
              <a:rPr lang="en-US" altLang="de-DE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Department offices: near the administrative offices (notices on bulletin boards) &amp; websites</a:t>
            </a:r>
            <a:endParaRPr lang="de-DE" altLang="de-DE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lang="de-DE" altLang="de-DE" dirty="0">
              <a:solidFill>
                <a:schemeClr val="tx1"/>
              </a:solidFill>
              <a:sym typeface="Wingdings" pitchFamily="2" charset="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- „</a:t>
            </a:r>
            <a:r>
              <a:rPr lang="de-DE" altLang="de-DE" dirty="0">
                <a:solidFill>
                  <a:schemeClr val="tx1"/>
                </a:solidFill>
                <a:sym typeface="Wingdings" pitchFamily="2" charset="2"/>
              </a:rPr>
              <a:t>Bulletin </a:t>
            </a:r>
            <a:r>
              <a:rPr lang="de-DE" altLang="de-DE" dirty="0" err="1">
                <a:solidFill>
                  <a:schemeClr val="tx1"/>
                </a:solidFill>
                <a:sym typeface="Wingdings" pitchFamily="2" charset="2"/>
              </a:rPr>
              <a:t>boards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“ (</a:t>
            </a:r>
            <a:r>
              <a:rPr lang="de-DE" altLang="de-DE" sz="2000" dirty="0" err="1">
                <a:solidFill>
                  <a:schemeClr val="tx1"/>
                </a:solidFill>
                <a:sym typeface="Wingdings" pitchFamily="2" charset="2"/>
              </a:rPr>
              <a:t>notes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 and </a:t>
            </a:r>
            <a:r>
              <a:rPr lang="de-DE" altLang="de-DE" sz="2000" dirty="0" err="1">
                <a:solidFill>
                  <a:schemeClr val="tx1"/>
                </a:solidFill>
                <a:sym typeface="Wingdings" pitchFamily="2" charset="2"/>
              </a:rPr>
              <a:t>posters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) all </a:t>
            </a:r>
            <a:r>
              <a:rPr lang="de-DE" altLang="de-DE" sz="2000" dirty="0" err="1">
                <a:solidFill>
                  <a:schemeClr val="tx1"/>
                </a:solidFill>
                <a:sym typeface="Wingdings" pitchFamily="2" charset="2"/>
              </a:rPr>
              <a:t>over</a:t>
            </a: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 </a:t>
            </a:r>
            <a:r>
              <a:rPr lang="de-DE" altLang="de-DE" sz="2000" dirty="0" err="1">
                <a:solidFill>
                  <a:schemeClr val="tx1"/>
                </a:solidFill>
                <a:sym typeface="Wingdings" pitchFamily="2" charset="2"/>
              </a:rPr>
              <a:t>campus</a:t>
            </a:r>
            <a:endParaRPr lang="de-DE" altLang="de-DE" sz="2000" dirty="0">
              <a:solidFill>
                <a:schemeClr val="tx1"/>
              </a:solidFill>
              <a:sym typeface="Wingdings" pitchFamily="2" charset="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b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itchFamily="2" charset="2"/>
              </a:rPr>
              <a:t>- </a:t>
            </a:r>
            <a:r>
              <a:rPr lang="de-DE" altLang="de-DE" sz="2000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International Office (</a:t>
            </a:r>
            <a:r>
              <a:rPr lang="de-DE" altLang="de-DE" dirty="0" err="1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or</a:t>
            </a:r>
            <a:r>
              <a:rPr lang="de-DE" altLang="de-DE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 </a:t>
            </a:r>
            <a:r>
              <a:rPr lang="de-DE" altLang="de-DE" dirty="0" err="1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other</a:t>
            </a:r>
            <a:r>
              <a:rPr lang="de-DE" altLang="de-DE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 </a:t>
            </a:r>
            <a:r>
              <a:rPr lang="de-DE" altLang="de-DE" dirty="0" err="1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departments</a:t>
            </a:r>
            <a:r>
              <a:rPr lang="de-DE" altLang="de-DE" sz="2000" dirty="0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)</a:t>
            </a:r>
            <a:br>
              <a:rPr lang="de-DE" altLang="de-DE" sz="20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 Posters, AAA-</a:t>
            </a:r>
            <a:r>
              <a:rPr lang="de-DE" altLang="de-DE" sz="2000" dirty="0" err="1">
                <a:solidFill>
                  <a:schemeClr val="tx1"/>
                </a:solidFill>
                <a:sym typeface="Wingdings" panose="05000000000000000000" pitchFamily="2" charset="2"/>
              </a:rPr>
              <a:t>InfoMail</a:t>
            </a:r>
            <a:r>
              <a:rPr lang="de-DE" altLang="de-DE" sz="2000" dirty="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de-DE" altLang="de-DE" sz="2000" dirty="0" err="1">
                <a:solidFill>
                  <a:schemeClr val="tx1"/>
                </a:solidFill>
                <a:sym typeface="Wingdings" panose="05000000000000000000" pitchFamily="2" charset="2"/>
              </a:rPr>
              <a:t>website</a:t>
            </a:r>
            <a:br>
              <a:rPr lang="de-DE" altLang="de-DE" sz="2000" dirty="0">
                <a:solidFill>
                  <a:schemeClr val="tx1"/>
                </a:solidFill>
              </a:rPr>
            </a:br>
            <a:br>
              <a:rPr lang="de-DE" altLang="de-DE" sz="2000" i="1" dirty="0">
                <a:solidFill>
                  <a:schemeClr val="tx1"/>
                </a:solidFill>
              </a:rPr>
            </a:br>
            <a:r>
              <a:rPr lang="de-DE" altLang="de-DE" sz="2000" i="1" dirty="0">
                <a:solidFill>
                  <a:schemeClr val="tx1"/>
                </a:solidFill>
              </a:rPr>
              <a:t>- </a:t>
            </a:r>
            <a:r>
              <a:rPr lang="de-DE" altLang="de-DE" sz="2000" dirty="0" err="1">
                <a:solidFill>
                  <a:schemeClr val="accent1">
                    <a:lumMod val="50000"/>
                  </a:schemeClr>
                </a:solidFill>
                <a:sym typeface="Wingdings" pitchFamily="2" charset="2"/>
              </a:rPr>
              <a:t>library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11D5A94-152C-4BCC-B264-2475E58C2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8288" y="4065296"/>
            <a:ext cx="1871634" cy="187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632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tudierendenwerk: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www.studierendenjobs.d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F2BDA8-1D62-462A-C1A1-C86479B9BB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6167" y="199525"/>
            <a:ext cx="2734057" cy="76210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B4F11FD-6017-0411-3490-E4A57E6ECD1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8524" t="9474" r="15716" b="6035"/>
          <a:stretch>
            <a:fillRect/>
          </a:stretch>
        </p:blipFill>
        <p:spPr>
          <a:xfrm>
            <a:off x="3716030" y="1235026"/>
            <a:ext cx="4759940" cy="549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291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emporary employment agencies in Augsburg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BUHL Gastronomi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2"/>
              </a:rPr>
              <a:t>https://www.buhl-gps.de/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Jobmensa</a:t>
            </a:r>
            <a:endParaRPr kumimoji="0" lang="de-DE" altLang="de-DE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  <a:t>http://www.jobmensa.de/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</a:br>
            <a:r>
              <a:rPr kumimoji="0" lang="de-DE" alt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  <a:t>studentenjobs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hlinkClick r:id="rId3"/>
              </a:rPr>
              <a:t>/augsburg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935125A-E7AB-2275-031E-A9794AA7A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4592" y="1243493"/>
            <a:ext cx="2105319" cy="117173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2EE9303-4E2B-326D-0A1D-4E0AA7EE4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3677" y="0"/>
            <a:ext cx="4868323" cy="384083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34D2049-D66D-844D-BB4B-8E27481B76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2114" y="3540485"/>
            <a:ext cx="3475951" cy="301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19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oard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46BA02B-7500-85BE-AF0F-D9783335BE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400" y="1306828"/>
            <a:ext cx="10371221" cy="478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1960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5A41B16-9717-CFA2-2938-A9D7E3882A5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156" t="19766" r="15936" b="17427"/>
          <a:stretch>
            <a:fillRect/>
          </a:stretch>
        </p:blipFill>
        <p:spPr>
          <a:xfrm>
            <a:off x="2370220" y="1515980"/>
            <a:ext cx="7451559" cy="430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0247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3023FBE-0C7C-3C6D-C260-BB8BC0EC7AB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177" t="11496" r="15914" b="17510"/>
          <a:stretch>
            <a:fillRect/>
          </a:stretch>
        </p:blipFill>
        <p:spPr>
          <a:xfrm>
            <a:off x="2370220" y="1411704"/>
            <a:ext cx="7451559" cy="486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5035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4A745E6-E3CA-3298-0AC8-6AF36CA00F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228" t="10468" r="16228" b="17573"/>
          <a:stretch>
            <a:fillRect/>
          </a:stretch>
        </p:blipFill>
        <p:spPr>
          <a:xfrm>
            <a:off x="2390274" y="1392268"/>
            <a:ext cx="7411452" cy="4934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47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-25223" y="0"/>
            <a:ext cx="11926145" cy="6841958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2839055"/>
            <a:ext cx="10714701" cy="3118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800"/>
              </a:lnSpc>
              <a:spcBef>
                <a:spcPct val="0"/>
              </a:spcBef>
            </a:pPr>
            <a:endParaRPr sz="1200" dirty="0"/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This presentation is the second of seven. 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t addresses the question of how you, as students, can </a:t>
            </a:r>
            <a:r>
              <a:rPr lang="en-US" sz="2233" b="1" dirty="0">
                <a:solidFill>
                  <a:srgbClr val="AD007C"/>
                </a:solidFill>
                <a:latin typeface="Canva Sans"/>
                <a:ea typeface="Canva Sans"/>
                <a:cs typeface="Canva Sans"/>
                <a:sym typeface="Canva Sans"/>
              </a:rPr>
              <a:t>finance your studies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We recommend that you carefully review all presentations so that you are well prepared to start your studies and can clarify any important questions.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endParaRPr lang="en-US" sz="2233" dirty="0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ll presentations are available online and can be downloaded via this link: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3"/>
              </a:rPr>
              <a:t>https://www.uni-augsburg.de/en/portal/internationals/abschluss/study-preparation-course/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</a:t>
            </a:r>
          </a:p>
        </p:txBody>
      </p:sp>
      <p:sp>
        <p:nvSpPr>
          <p:cNvPr id="4" name="Freeform 4"/>
          <p:cNvSpPr/>
          <p:nvPr/>
        </p:nvSpPr>
        <p:spPr>
          <a:xfrm>
            <a:off x="9842763" y="1359068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-407176" y="466242"/>
            <a:ext cx="10523481" cy="5292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mportant information about starting your studies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1314617"/>
            <a:ext cx="8504849" cy="15559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125"/>
              </a:lnSpc>
              <a:spcBef>
                <a:spcPct val="0"/>
              </a:spcBef>
            </a:pPr>
            <a:r>
              <a:rPr lang="en-US" sz="2233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The International Office at the University of Augsburg has put together a series of presentations for international first-year students with the most important information about studying and living in Augsburg. 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0694E-0F34-E4B0-014A-77C1EE3803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8AE2C6AC-29B7-5469-2982-2432AC26C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A202F18-0334-94FE-D5FA-ADA4FEFAF1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002" t="10468" r="15870" b="17848"/>
          <a:stretch>
            <a:fillRect/>
          </a:stretch>
        </p:blipFill>
        <p:spPr>
          <a:xfrm>
            <a:off x="2358188" y="1409715"/>
            <a:ext cx="7475623" cy="491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6315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A8423-3182-8F7E-1320-B91CC6F222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B9D164EA-35F9-D537-0175-BA235B729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4C36AB1-0FF8-08F4-9966-68B1AC5F380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023" t="13240" r="16214" b="17696"/>
          <a:stretch>
            <a:fillRect/>
          </a:stretch>
        </p:blipFill>
        <p:spPr>
          <a:xfrm>
            <a:off x="2378241" y="1527979"/>
            <a:ext cx="7435517" cy="473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5206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66237-C3D7-D8C9-F935-829BB545C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A266F3AF-F1E4-ACF6-7CF6-80A4A259D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igicampu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: Jobbörs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2044231-BCD8-46FB-F32E-F74A9DFC41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0" t="10624" r="14999" b="16329"/>
          <a:stretch>
            <a:fillRect/>
          </a:stretch>
        </p:blipFill>
        <p:spPr>
          <a:xfrm>
            <a:off x="2302042" y="1225641"/>
            <a:ext cx="7587916" cy="500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977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iversity of Augsburg Job Portal: Internships &amp; Career Starts, Nationwid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hlinkClick r:id="rId2"/>
              </a:rPr>
              <a:t>https://www.jobportal-augsburg.de/uacc/index.php?lang=2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 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1ED131C-8821-161E-414D-508FA21879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881" t="12644" r="20355" b="36322"/>
          <a:stretch>
            <a:fillRect/>
          </a:stretch>
        </p:blipFill>
        <p:spPr>
          <a:xfrm>
            <a:off x="2247473" y="2011315"/>
            <a:ext cx="7697053" cy="4177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480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areer Service at the University of Augsburg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6296526" cy="3402451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Career Service offers a few English workshops and courses:</a:t>
            </a:r>
            <a:endParaRPr lang="en-US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  <a:hlinkClick r:id="rId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de-DE" dirty="0">
                <a:hlinkClick r:id="rId3"/>
              </a:rPr>
              <a:t>https://www.uni-augsburg.de/de/organisation/einrichtungen/career-service/veranstaltungsubersicht/</a:t>
            </a:r>
            <a:r>
              <a:rPr lang="de-DE" dirty="0"/>
              <a:t> </a:t>
            </a: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E2A139F-A34F-4F02-8CE0-EC381428DC94}"/>
              </a:ext>
            </a:extLst>
          </p:cNvPr>
          <p:cNvSpPr txBox="1"/>
          <p:nvPr/>
        </p:nvSpPr>
        <p:spPr>
          <a:xfrm>
            <a:off x="745959" y="3095499"/>
            <a:ext cx="443011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/>
              <a:t>Service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Field trips to local companies</a:t>
            </a: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Soft </a:t>
            </a:r>
            <a:r>
              <a:rPr lang="de-DE" sz="2000" dirty="0" err="1"/>
              <a:t>skills</a:t>
            </a:r>
            <a:r>
              <a:rPr lang="de-DE" sz="2000" dirty="0"/>
              <a:t> </a:t>
            </a:r>
            <a:r>
              <a:rPr lang="de-DE" sz="2000" dirty="0" err="1"/>
              <a:t>courses</a:t>
            </a: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Business administration for humanities stu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A </a:t>
            </a:r>
            <a:r>
              <a:rPr lang="de-DE" sz="2000" dirty="0" err="1"/>
              <a:t>guide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job</a:t>
            </a:r>
            <a:r>
              <a:rPr lang="de-DE" sz="2000" dirty="0"/>
              <a:t> </a:t>
            </a:r>
            <a:r>
              <a:rPr lang="de-DE" sz="2000" dirty="0" err="1"/>
              <a:t>applications</a:t>
            </a: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Job interview </a:t>
            </a:r>
            <a:r>
              <a:rPr lang="de-DE" sz="2000" dirty="0" err="1"/>
              <a:t>training</a:t>
            </a:r>
            <a:endParaRPr lang="de-DE" sz="2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B682C9-3535-C5AF-BB45-05F17051B45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2456" t="9825" r="16593" b="4327"/>
          <a:stretch>
            <a:fillRect/>
          </a:stretch>
        </p:blipFill>
        <p:spPr>
          <a:xfrm>
            <a:off x="7015926" y="703578"/>
            <a:ext cx="5176074" cy="545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0149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1926145" cy="6858000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3157196"/>
            <a:ext cx="10820400" cy="18906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This presentation is the sixth of seven.</a:t>
            </a:r>
            <a:r>
              <a:rPr lang="en-US" sz="2166" b="1" dirty="0">
                <a:solidFill>
                  <a:srgbClr val="000000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e recommend that you carefully review all presentations so that you are well prepared to start your studies and can clarify any important questions: </a:t>
            </a:r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3"/>
              </a:rPr>
              <a:t>https://www.uni-augsburg.de/en/portal/internationals/abschluss/study-preparation-course/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 </a:t>
            </a:r>
          </a:p>
        </p:txBody>
      </p:sp>
      <p:sp>
        <p:nvSpPr>
          <p:cNvPr id="4" name="Freeform 4"/>
          <p:cNvSpPr/>
          <p:nvPr/>
        </p:nvSpPr>
        <p:spPr>
          <a:xfrm>
            <a:off x="10060948" y="1334515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81371" y="454192"/>
            <a:ext cx="4043855" cy="5146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Open questions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1373749"/>
            <a:ext cx="8800755" cy="11212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2"/>
              </a:lnSpc>
              <a:spcBef>
                <a:spcPct val="0"/>
              </a:spcBef>
            </a:pP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The International Office at the University of Augsburg has put together a series of presentations for international first-year students with the most important information about studying and living in Augsburg. 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685800" y="5073832"/>
            <a:ext cx="10820400" cy="11212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3"/>
              </a:lnSpc>
            </a:pPr>
            <a:endParaRPr sz="1200"/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f you still have questions after reviewing all the presentations, please feel free to send us an email at: svk@aaa.uni-augsburg.de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Outline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172246" y="1516194"/>
            <a:ext cx="7797583" cy="3825611"/>
          </a:xfrm>
        </p:spPr>
        <p:txBody>
          <a:bodyPr/>
          <a:lstStyle/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E6FAA94-8438-4491-84FD-8649AC156BC2}"/>
              </a:ext>
            </a:extLst>
          </p:cNvPr>
          <p:cNvSpPr txBox="1"/>
          <p:nvPr/>
        </p:nvSpPr>
        <p:spPr>
          <a:xfrm>
            <a:off x="1005443" y="1396858"/>
            <a:ext cx="941871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Facts and </a:t>
            </a:r>
            <a:r>
              <a:rPr lang="de-DE" altLang="de-DE" sz="2000" dirty="0" err="1">
                <a:solidFill>
                  <a:schemeClr val="tx2"/>
                </a:solidFill>
              </a:rPr>
              <a:t>figures</a:t>
            </a:r>
            <a:endParaRPr lang="de-DE" altLang="de-DE" sz="2000" dirty="0">
              <a:solidFill>
                <a:schemeClr val="tx2"/>
              </a:solidFill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en-US" altLang="de-DE" sz="2000" dirty="0">
                <a:solidFill>
                  <a:srgbClr val="000000"/>
                </a:solidFill>
              </a:rPr>
              <a:t>How much money do you need?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rgbClr val="000000"/>
                </a:solidFill>
              </a:rPr>
              <a:t> Financing </a:t>
            </a:r>
            <a:r>
              <a:rPr lang="de-DE" altLang="de-DE" sz="2000" dirty="0" err="1">
                <a:solidFill>
                  <a:srgbClr val="000000"/>
                </a:solidFill>
              </a:rPr>
              <a:t>your</a:t>
            </a: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de-DE" altLang="de-DE" sz="2000" dirty="0" err="1">
                <a:solidFill>
                  <a:srgbClr val="000000"/>
                </a:solidFill>
              </a:rPr>
              <a:t>studies</a:t>
            </a:r>
            <a:r>
              <a:rPr lang="de-DE" altLang="de-DE" sz="2000" dirty="0">
                <a:solidFill>
                  <a:srgbClr val="000000"/>
                </a:solidFill>
              </a:rPr>
              <a:t> – </a:t>
            </a:r>
            <a:r>
              <a:rPr lang="de-DE" altLang="de-DE" sz="2000" dirty="0" err="1">
                <a:solidFill>
                  <a:srgbClr val="000000"/>
                </a:solidFill>
              </a:rPr>
              <a:t>Statistics</a:t>
            </a:r>
            <a:endParaRPr lang="de-DE" altLang="de-DE" sz="2000" dirty="0">
              <a:solidFill>
                <a:srgbClr val="000000"/>
              </a:solidFill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Scholarships</a:t>
            </a:r>
            <a:endParaRPr lang="de-DE" altLang="de-DE" sz="2000" dirty="0">
              <a:solidFill>
                <a:srgbClr val="000000"/>
              </a:solidFill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en-US" altLang="de-DE" sz="2000" dirty="0">
                <a:solidFill>
                  <a:srgbClr val="000000"/>
                </a:solidFill>
              </a:rPr>
              <a:t>offered by the University of Augsburg</a:t>
            </a:r>
            <a:endParaRPr lang="de-DE" altLang="de-DE" sz="2000" dirty="0">
              <a:solidFill>
                <a:srgbClr val="000000"/>
              </a:solidFill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de-DE" altLang="de-DE" sz="2000" dirty="0" err="1">
                <a:solidFill>
                  <a:srgbClr val="000000"/>
                </a:solidFill>
              </a:rPr>
              <a:t>other</a:t>
            </a: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de-DE" altLang="de-DE" sz="2000" dirty="0" err="1">
                <a:solidFill>
                  <a:srgbClr val="000000"/>
                </a:solidFill>
              </a:rPr>
              <a:t>scholarships</a:t>
            </a:r>
            <a:endParaRPr lang="de-DE" altLang="de-DE" sz="2000" dirty="0">
              <a:solidFill>
                <a:srgbClr val="000000"/>
              </a:solidFill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BAföG</a:t>
            </a:r>
            <a:r>
              <a:rPr lang="de-DE" altLang="de-DE" sz="2000" dirty="0">
                <a:solidFill>
                  <a:srgbClr val="000000"/>
                </a:solidFill>
              </a:rPr>
              <a:t> – </a:t>
            </a:r>
            <a:r>
              <a:rPr lang="de-DE" altLang="de-DE" sz="2000" dirty="0" err="1">
                <a:solidFill>
                  <a:srgbClr val="000000"/>
                </a:solidFill>
              </a:rPr>
              <a:t>for</a:t>
            </a:r>
            <a:r>
              <a:rPr lang="de-DE" altLang="de-DE" sz="2000" dirty="0">
                <a:solidFill>
                  <a:srgbClr val="000000"/>
                </a:solidFill>
              </a:rPr>
              <a:t> international </a:t>
            </a:r>
            <a:r>
              <a:rPr lang="de-DE" altLang="de-DE" sz="2000" dirty="0" err="1">
                <a:solidFill>
                  <a:srgbClr val="000000"/>
                </a:solidFill>
              </a:rPr>
              <a:t>students</a:t>
            </a:r>
            <a:r>
              <a:rPr lang="de-DE" altLang="de-DE" sz="2000" dirty="0">
                <a:solidFill>
                  <a:srgbClr val="000000"/>
                </a:solidFill>
              </a:rPr>
              <a:t>?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Financial </a:t>
            </a:r>
            <a:r>
              <a:rPr lang="de-DE" altLang="de-DE" sz="2000" dirty="0" err="1">
                <a:solidFill>
                  <a:schemeClr val="tx2"/>
                </a:solidFill>
              </a:rPr>
              <a:t>assistance</a:t>
            </a:r>
            <a:r>
              <a:rPr lang="de-DE" altLang="de-DE" sz="2000" dirty="0">
                <a:solidFill>
                  <a:schemeClr val="tx2"/>
                </a:solidFill>
              </a:rPr>
              <a:t> in </a:t>
            </a:r>
            <a:r>
              <a:rPr lang="de-DE" altLang="de-DE" sz="2000" dirty="0" err="1">
                <a:solidFill>
                  <a:schemeClr val="tx2"/>
                </a:solidFill>
              </a:rPr>
              <a:t>emergencies</a:t>
            </a:r>
            <a:endParaRPr lang="de-DE" altLang="de-DE" sz="2000" dirty="0">
              <a:solidFill>
                <a:schemeClr val="tx2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altLang="de-DE" sz="2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dirty="0">
                <a:solidFill>
                  <a:schemeClr val="tx2"/>
                </a:solidFill>
              </a:rPr>
              <a:t> Student </a:t>
            </a:r>
            <a:r>
              <a:rPr lang="de-DE" altLang="de-DE" sz="2000" dirty="0" err="1">
                <a:solidFill>
                  <a:schemeClr val="tx2"/>
                </a:solidFill>
              </a:rPr>
              <a:t>jobs</a:t>
            </a:r>
            <a:endParaRPr lang="de-DE" altLang="de-DE" sz="2000" dirty="0">
              <a:solidFill>
                <a:schemeClr val="tx2"/>
              </a:solidFill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i="1" dirty="0">
                <a:solidFill>
                  <a:srgbClr val="000000"/>
                </a:solidFill>
              </a:rPr>
              <a:t> </a:t>
            </a:r>
            <a:r>
              <a:rPr lang="en-US" altLang="de-DE" sz="2000" i="1" dirty="0">
                <a:solidFill>
                  <a:srgbClr val="000000"/>
                </a:solidFill>
              </a:rPr>
              <a:t>Student assistant jobs </a:t>
            </a:r>
            <a:r>
              <a:rPr lang="en-US" altLang="de-DE" sz="2000" dirty="0">
                <a:solidFill>
                  <a:srgbClr val="000000"/>
                </a:solidFill>
              </a:rPr>
              <a:t>at the university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sz="2000" i="1" dirty="0">
                <a:solidFill>
                  <a:srgbClr val="000000"/>
                </a:solidFill>
              </a:rPr>
              <a:t> </a:t>
            </a:r>
            <a:r>
              <a:rPr lang="en-US" altLang="de-DE" sz="2000" i="1" dirty="0">
                <a:solidFill>
                  <a:srgbClr val="000000"/>
                </a:solidFill>
              </a:rPr>
              <a:t>Student jobs </a:t>
            </a:r>
            <a:r>
              <a:rPr lang="en-US" altLang="de-DE" sz="2000" dirty="0">
                <a:solidFill>
                  <a:srgbClr val="000000"/>
                </a:solidFill>
              </a:rPr>
              <a:t>outside the university</a:t>
            </a:r>
            <a:endParaRPr lang="de-DE" altLang="de-DE" sz="2000" dirty="0">
              <a:solidFill>
                <a:srgbClr val="000000"/>
              </a:solidFill>
            </a:endParaRPr>
          </a:p>
        </p:txBody>
      </p:sp>
      <p:pic>
        <p:nvPicPr>
          <p:cNvPr id="3" name="Grafik 2" descr="Münzen mit einfarbiger Füllung">
            <a:extLst>
              <a:ext uri="{FF2B5EF4-FFF2-40B4-BE49-F238E27FC236}">
                <a16:creationId xmlns:a16="http://schemas.microsoft.com/office/drawing/2014/main" id="{8A874894-71F4-9FCE-EB6F-27FE5950D6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01852" y="511625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39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(financial) situation of international students at German universities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1/2 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0987219" cy="49116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There are currently just under 500,000 international students in Germany (about 17 percent of all students</a:t>
            </a:r>
            <a:r>
              <a:rPr lang="de-DE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altLang="de-DE" sz="1400" kern="0" dirty="0">
                <a:solidFill>
                  <a:srgbClr val="000000"/>
                </a:solidFill>
                <a:ea typeface="ＭＳ Ｐゴシック"/>
                <a:cs typeface="+mj-cs"/>
              </a:rPr>
              <a:t>        (</a:t>
            </a:r>
            <a:r>
              <a:rPr lang="de-DE" altLang="de-DE" sz="1400" kern="0" dirty="0">
                <a:solidFill>
                  <a:srgbClr val="000000"/>
                </a:solidFill>
                <a:ea typeface="ＭＳ Ｐゴシック"/>
                <a:cs typeface="+mj-cs"/>
                <a:hlinkClick r:id="rId2"/>
              </a:rPr>
              <a:t>https://mediendienst-integration.de/integration/hochschule.html</a:t>
            </a:r>
            <a:r>
              <a:rPr lang="de-DE" altLang="de-DE" sz="1400" kern="0" dirty="0">
                <a:solidFill>
                  <a:srgbClr val="000000"/>
                </a:solidFill>
                <a:ea typeface="ＭＳ Ｐゴシック"/>
                <a:cs typeface="+mj-cs"/>
              </a:rPr>
              <a:t>, 27.09.2025)</a:t>
            </a: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Main motivations: high quality of life, desire to work in Germany after completing one's studies, Germany's economic situation, getting to know Germany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95% organize their stay on their own 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– </a:t>
            </a:r>
            <a:r>
              <a:rPr lang="de-DE" altLang="de-DE" b="1" kern="0" dirty="0">
                <a:solidFill>
                  <a:srgbClr val="AD007C"/>
                </a:solidFill>
                <a:ea typeface="ＭＳ Ｐゴシック"/>
                <a:cs typeface="+mj-cs"/>
              </a:rPr>
              <a:t>just like </a:t>
            </a:r>
            <a:r>
              <a:rPr lang="de-DE" altLang="de-DE" b="1" kern="0" dirty="0" err="1">
                <a:solidFill>
                  <a:srgbClr val="AD007C"/>
                </a:solidFill>
                <a:ea typeface="ＭＳ Ｐゴシック"/>
                <a:cs typeface="+mj-cs"/>
              </a:rPr>
              <a:t>you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/>
                <a:cs typeface="+mj-cs"/>
              </a:rPr>
              <a:t>!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/>
                <a:cs typeface="+mj-cs"/>
                <a:sym typeface="Wingdings" panose="05000000000000000000" pitchFamily="2" charset="2"/>
              </a:rPr>
              <a:t></a:t>
            </a: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/>
                <a:cs typeface="+mj-cs"/>
              </a:rPr>
              <a:t> 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- </a:t>
            </a: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they come without an exchange program</a:t>
            </a: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Challenges: Finding accommodation, connecting with German classmates, navigating the academic system, and financing one's studies and living expenses</a:t>
            </a:r>
            <a:br>
              <a:rPr kumimoji="0" lang="de-DE" alt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rPr>
            </a:b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7434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(financial) situation of international students at German universities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2/2 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0987219" cy="49116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dirty="0">
                <a:solidFill>
                  <a:schemeClr val="tx1"/>
                </a:solidFill>
              </a:rPr>
              <a:t>Financing </a:t>
            </a:r>
            <a:r>
              <a:rPr lang="de-DE" altLang="de-DE" dirty="0" err="1">
                <a:solidFill>
                  <a:schemeClr val="tx1"/>
                </a:solidFill>
              </a:rPr>
              <a:t>one‘s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studies</a:t>
            </a:r>
            <a:r>
              <a:rPr lang="de-DE" altLang="de-DE" dirty="0">
                <a:solidFill>
                  <a:schemeClr val="tx1"/>
                </a:solidFill>
              </a:rPr>
              <a:t>: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63 % </a:t>
            </a:r>
            <a:r>
              <a:rPr lang="de-DE" altLang="de-DE" dirty="0" err="1">
                <a:solidFill>
                  <a:schemeClr val="tx1"/>
                </a:solidFill>
              </a:rPr>
              <a:t>have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their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parents</a:t>
            </a:r>
            <a:r>
              <a:rPr lang="de-DE" altLang="de-DE" dirty="0">
                <a:solidFill>
                  <a:schemeClr val="tx1"/>
                </a:solidFill>
              </a:rPr>
              <a:t>' support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50 % </a:t>
            </a:r>
            <a:r>
              <a:rPr lang="en-US" altLang="de-DE" dirty="0">
                <a:solidFill>
                  <a:schemeClr val="tx1"/>
                </a:solidFill>
              </a:rPr>
              <a:t>finance their studies with their own earnings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15 % </a:t>
            </a:r>
            <a:r>
              <a:rPr lang="de-DE" altLang="de-DE" dirty="0" err="1">
                <a:solidFill>
                  <a:schemeClr val="tx1"/>
                </a:solidFill>
              </a:rPr>
              <a:t>receive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scholarships</a:t>
            </a:r>
            <a:r>
              <a:rPr lang="de-DE" altLang="de-DE" dirty="0">
                <a:solidFill>
                  <a:schemeClr val="tx1"/>
                </a:solidFill>
              </a:rPr>
              <a:t> (</a:t>
            </a:r>
            <a:r>
              <a:rPr lang="de-DE" altLang="de-DE" dirty="0" err="1">
                <a:solidFill>
                  <a:schemeClr val="tx1"/>
                </a:solidFill>
              </a:rPr>
              <a:t>mainly</a:t>
            </a:r>
            <a:r>
              <a:rPr lang="de-DE" altLang="de-DE" dirty="0">
                <a:solidFill>
                  <a:schemeClr val="tx1"/>
                </a:solidFill>
              </a:rPr>
              <a:t> German </a:t>
            </a:r>
            <a:r>
              <a:rPr lang="de-DE" altLang="de-DE" dirty="0" err="1">
                <a:solidFill>
                  <a:schemeClr val="tx1"/>
                </a:solidFill>
              </a:rPr>
              <a:t>ones</a:t>
            </a:r>
            <a:r>
              <a:rPr lang="de-DE" altLang="de-DE" dirty="0">
                <a:solidFill>
                  <a:schemeClr val="tx1"/>
                </a:solidFill>
              </a:rPr>
              <a:t>)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dirty="0">
                <a:solidFill>
                  <a:schemeClr val="tx1"/>
                </a:solidFill>
              </a:rPr>
              <a:t>	</a:t>
            </a:r>
            <a:r>
              <a:rPr lang="de-DE" altLang="de-DE" i="1" dirty="0">
                <a:solidFill>
                  <a:schemeClr val="tx1"/>
                </a:solidFill>
              </a:rPr>
              <a:t>(54 % </a:t>
            </a:r>
            <a:r>
              <a:rPr lang="en-US" altLang="de-DE" i="1" dirty="0">
                <a:solidFill>
                  <a:schemeClr val="tx1"/>
                </a:solidFill>
              </a:rPr>
              <a:t>have two or three sources of funding</a:t>
            </a:r>
            <a:r>
              <a:rPr lang="de-DE" altLang="de-DE" i="1" dirty="0">
                <a:solidFill>
                  <a:schemeClr val="tx1"/>
                </a:solidFill>
              </a:rPr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de-DE" altLang="de-DE" i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dirty="0">
                <a:solidFill>
                  <a:schemeClr val="tx1"/>
                </a:solidFill>
              </a:rPr>
              <a:t>51% of international students take on jobs while studying; for 75% of them, working is absolutely necessary </a:t>
            </a: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8688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st of living in Augsburg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800" u="sng" spc="-55" dirty="0">
                <a:latin typeface="Calibri" panose="020F0502020204030204" pitchFamily="34" charset="0"/>
                <a:cs typeface="Calibri" panose="020F0502020204030204" pitchFamily="34" charset="0"/>
              </a:rPr>
              <a:t>At least</a:t>
            </a:r>
            <a:r>
              <a:rPr lang="de-DE" sz="1800" spc="-55" dirty="0">
                <a:latin typeface="Calibri" panose="020F0502020204030204" pitchFamily="34" charset="0"/>
                <a:cs typeface="Calibri" panose="020F0502020204030204" pitchFamily="34" charset="0"/>
              </a:rPr>
              <a:t> EUR 900 – 1.000 per </a:t>
            </a:r>
            <a:r>
              <a:rPr lang="de-DE" sz="1800" spc="-55" dirty="0" err="1">
                <a:latin typeface="Calibri" panose="020F0502020204030204" pitchFamily="34" charset="0"/>
                <a:cs typeface="Calibri" panose="020F0502020204030204" pitchFamily="34" charset="0"/>
              </a:rPr>
              <a:t>month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300 Euro/Monat 		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nt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x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 Euro/Monat 		Public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oadcasting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x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30 Euro/Monat 		Public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urance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x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50 Euro/Monat 		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oceries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 – 200 Euro/Monat		</a:t>
            </a:r>
            <a:r>
              <a:rPr lang="en-US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oks, copies, leisure time, clothing</a:t>
            </a:r>
            <a:br>
              <a:rPr lang="en-US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800" spc="-55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800" spc="-55" dirty="0">
                <a:latin typeface="Calibri" panose="020F0502020204030204" pitchFamily="34" charset="0"/>
                <a:cs typeface="Calibri" panose="020F0502020204030204" pitchFamily="34" charset="0"/>
              </a:rPr>
              <a:t>Attention: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mester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x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50 Euro)</a:t>
            </a:r>
            <a:b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nsion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dence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mit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on-EU  </a:t>
            </a:r>
            <a:r>
              <a:rPr lang="de-DE" sz="1800" spc="-55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x</a:t>
            </a:r>
            <a:r>
              <a:rPr lang="de-DE" sz="1800" spc="-55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2.000 Euro)</a:t>
            </a: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241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cholarships at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University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Augsburg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60098"/>
            <a:ext cx="11088972" cy="5508716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altLang="de-DE" sz="1800" dirty="0">
                <a:solidFill>
                  <a:srgbClr val="AD007C"/>
                </a:solidFill>
              </a:rPr>
              <a:t>Scholarships </a:t>
            </a:r>
            <a:r>
              <a:rPr lang="de-DE" altLang="de-DE" sz="1800" dirty="0" err="1">
                <a:solidFill>
                  <a:srgbClr val="AD007C"/>
                </a:solidFill>
              </a:rPr>
              <a:t>offered</a:t>
            </a:r>
            <a:r>
              <a:rPr lang="de-DE" altLang="de-DE" sz="1800" dirty="0">
                <a:solidFill>
                  <a:srgbClr val="AD007C"/>
                </a:solidFill>
              </a:rPr>
              <a:t> </a:t>
            </a:r>
            <a:r>
              <a:rPr lang="de-DE" altLang="de-DE" sz="1800" dirty="0" err="1">
                <a:solidFill>
                  <a:srgbClr val="AD007C"/>
                </a:solidFill>
              </a:rPr>
              <a:t>by</a:t>
            </a:r>
            <a:r>
              <a:rPr lang="de-DE" altLang="de-DE" sz="1800" dirty="0">
                <a:solidFill>
                  <a:srgbClr val="AD007C"/>
                </a:solidFill>
              </a:rPr>
              <a:t> </a:t>
            </a:r>
            <a:r>
              <a:rPr lang="de-DE" altLang="de-DE" sz="1800" dirty="0" err="1">
                <a:solidFill>
                  <a:srgbClr val="AD007C"/>
                </a:solidFill>
              </a:rPr>
              <a:t>the</a:t>
            </a:r>
            <a:r>
              <a:rPr lang="de-DE" altLang="de-DE" sz="1800" dirty="0">
                <a:solidFill>
                  <a:srgbClr val="AD007C"/>
                </a:solidFill>
              </a:rPr>
              <a:t> International Office:</a:t>
            </a:r>
            <a:br>
              <a:rPr lang="de-DE" altLang="de-DE" sz="1800" dirty="0">
                <a:solidFill>
                  <a:schemeClr val="tx1"/>
                </a:solidFill>
              </a:rPr>
            </a:br>
            <a:r>
              <a:rPr lang="de-DE" altLang="de-DE" sz="1800" dirty="0">
                <a:solidFill>
                  <a:schemeClr val="tx1"/>
                </a:solidFill>
              </a:rPr>
              <a:t>	- </a:t>
            </a:r>
            <a:r>
              <a:rPr lang="en-US" altLang="de-DE" sz="1800" dirty="0">
                <a:solidFill>
                  <a:schemeClr val="tx1"/>
                </a:solidFill>
              </a:rPr>
              <a:t>Only for students in their 2nd master’s semester or higher / 3rd bachelor’s semester or higher</a:t>
            </a:r>
            <a:endParaRPr lang="de-DE" altLang="de-DE" sz="18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de-DE" altLang="de-DE" sz="1800" dirty="0">
                <a:solidFill>
                  <a:schemeClr val="tx1"/>
                </a:solidFill>
              </a:rPr>
              <a:t>	- </a:t>
            </a:r>
            <a:r>
              <a:rPr lang="de-DE" altLang="de-DE" sz="1800" dirty="0" err="1">
                <a:solidFill>
                  <a:schemeClr val="tx1"/>
                </a:solidFill>
              </a:rPr>
              <a:t>very</a:t>
            </a:r>
            <a:r>
              <a:rPr lang="de-DE" altLang="de-DE" sz="1800" dirty="0">
                <a:solidFill>
                  <a:schemeClr val="tx1"/>
                </a:solidFill>
              </a:rPr>
              <a:t> limited </a:t>
            </a:r>
            <a:r>
              <a:rPr lang="de-DE" altLang="de-DE" sz="1800" dirty="0" err="1">
                <a:solidFill>
                  <a:schemeClr val="tx1"/>
                </a:solidFill>
              </a:rPr>
              <a:t>number</a:t>
            </a:r>
            <a:endParaRPr lang="de-DE" altLang="de-DE" sz="18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de-DE" altLang="de-DE" sz="1800" dirty="0">
                <a:solidFill>
                  <a:schemeClr val="tx1"/>
                </a:solidFill>
              </a:rPr>
              <a:t>	- </a:t>
            </a:r>
            <a:r>
              <a:rPr lang="de-DE" altLang="de-DE" sz="1800" dirty="0" err="1">
                <a:solidFill>
                  <a:schemeClr val="tx1"/>
                </a:solidFill>
              </a:rPr>
              <a:t>Criteria</a:t>
            </a:r>
            <a:r>
              <a:rPr lang="de-DE" altLang="de-DE" sz="1800" dirty="0">
                <a:solidFill>
                  <a:schemeClr val="tx1"/>
                </a:solidFill>
              </a:rPr>
              <a:t>: Need &amp; </a:t>
            </a:r>
            <a:r>
              <a:rPr lang="de-DE" altLang="de-DE" sz="1800" dirty="0" err="1">
                <a:solidFill>
                  <a:schemeClr val="tx1"/>
                </a:solidFill>
              </a:rPr>
              <a:t>Eligibility</a:t>
            </a:r>
            <a:br>
              <a:rPr lang="de-DE" altLang="de-DE" sz="1800" dirty="0">
                <a:solidFill>
                  <a:schemeClr val="tx1"/>
                </a:solidFill>
              </a:rPr>
            </a:br>
            <a:r>
              <a:rPr lang="de-DE" altLang="de-DE" sz="1800" dirty="0">
                <a:solidFill>
                  <a:schemeClr val="tx1"/>
                </a:solidFill>
              </a:rPr>
              <a:t>	- </a:t>
            </a:r>
            <a:r>
              <a:rPr lang="en-US" altLang="de-DE" sz="1800" dirty="0">
                <a:solidFill>
                  <a:schemeClr val="tx1"/>
                </a:solidFill>
              </a:rPr>
              <a:t>Applications are only accepted if a call for applications has been issued</a:t>
            </a:r>
            <a:br>
              <a:rPr lang="de-DE" altLang="de-DE" sz="1800" dirty="0">
                <a:solidFill>
                  <a:schemeClr val="tx1"/>
                </a:solidFill>
              </a:rPr>
            </a:br>
            <a:r>
              <a:rPr lang="de-DE" altLang="de-DE" sz="18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sz="1800" dirty="0">
                <a:solidFill>
                  <a:schemeClr val="tx1"/>
                </a:solidFill>
                <a:sym typeface="Wingdings" panose="05000000000000000000" pitchFamily="2" charset="2"/>
              </a:rPr>
              <a:t>Keep an eye out for posters, flyers, and the </a:t>
            </a:r>
            <a:r>
              <a:rPr lang="en-US" altLang="de-DE" sz="1800" dirty="0" err="1">
                <a:solidFill>
                  <a:schemeClr val="tx1"/>
                </a:solidFill>
                <a:sym typeface="Wingdings" panose="05000000000000000000" pitchFamily="2" charset="2"/>
              </a:rPr>
              <a:t>aaa</a:t>
            </a:r>
            <a:r>
              <a:rPr lang="en-US" altLang="de-DE" sz="1800" dirty="0">
                <a:solidFill>
                  <a:schemeClr val="tx1"/>
                </a:solidFill>
                <a:sym typeface="Wingdings" panose="05000000000000000000" pitchFamily="2" charset="2"/>
              </a:rPr>
              <a:t>-info-mailing list</a:t>
            </a:r>
            <a:endParaRPr lang="de-DE" altLang="de-DE" sz="18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altLang="de-DE" sz="1800" dirty="0">
                <a:solidFill>
                  <a:srgbClr val="AD007C"/>
                </a:solidFill>
              </a:rPr>
              <a:t>Scholarship </a:t>
            </a:r>
            <a:r>
              <a:rPr lang="de-DE" altLang="de-DE" sz="1800" dirty="0" err="1">
                <a:solidFill>
                  <a:srgbClr val="AD007C"/>
                </a:solidFill>
              </a:rPr>
              <a:t>department</a:t>
            </a:r>
            <a:br>
              <a:rPr lang="de-DE" altLang="de-DE" sz="1800" dirty="0">
                <a:solidFill>
                  <a:schemeClr val="tx1"/>
                </a:solidFill>
              </a:rPr>
            </a:br>
            <a:r>
              <a:rPr lang="de-DE" altLang="de-DE" sz="1800" dirty="0">
                <a:solidFill>
                  <a:schemeClr val="tx1"/>
                </a:solidFill>
              </a:rPr>
              <a:t>	- „</a:t>
            </a:r>
            <a:r>
              <a:rPr lang="en-US" altLang="de-DE" sz="1800" dirty="0">
                <a:solidFill>
                  <a:schemeClr val="tx1"/>
                </a:solidFill>
              </a:rPr>
              <a:t>Book Scholarship” (one-time payment of 100 euros)</a:t>
            </a:r>
            <a:br>
              <a:rPr lang="de-DE" altLang="de-DE" sz="1800" dirty="0">
                <a:solidFill>
                  <a:schemeClr val="tx1"/>
                </a:solidFill>
              </a:rPr>
            </a:br>
            <a:r>
              <a:rPr lang="de-DE" altLang="de-DE" sz="1800" dirty="0">
                <a:solidFill>
                  <a:schemeClr val="tx1"/>
                </a:solidFill>
              </a:rPr>
              <a:t>	- </a:t>
            </a:r>
            <a:r>
              <a:rPr lang="en-US" altLang="de-DE" sz="1800" dirty="0">
                <a:solidFill>
                  <a:schemeClr val="tx1"/>
                </a:solidFill>
              </a:rPr>
              <a:t>Financial support for women (and families) </a:t>
            </a:r>
          </a:p>
          <a:p>
            <a:pPr>
              <a:lnSpc>
                <a:spcPct val="150000"/>
              </a:lnSpc>
            </a:pPr>
            <a:r>
              <a:rPr lang="de-DE" altLang="de-DE" sz="1800" dirty="0">
                <a:solidFill>
                  <a:schemeClr val="tx1"/>
                </a:solidFill>
              </a:rPr>
              <a:t>	- „Deutschlandstipendium“ (300 Euro/Monat)	</a:t>
            </a:r>
            <a:br>
              <a:rPr lang="de-DE" altLang="de-DE" sz="1800" dirty="0">
                <a:solidFill>
                  <a:schemeClr val="tx1"/>
                </a:solidFill>
              </a:rPr>
            </a:br>
            <a:r>
              <a:rPr lang="de-DE" altLang="de-DE" sz="1800" i="1" dirty="0">
                <a:solidFill>
                  <a:srgbClr val="AD007C"/>
                </a:solidFill>
                <a:sym typeface="Wingdings" panose="05000000000000000000" pitchFamily="2" charset="2"/>
              </a:rPr>
              <a:t> </a:t>
            </a:r>
            <a:r>
              <a:rPr lang="de-DE" altLang="de-DE" sz="1800" i="1" dirty="0">
                <a:solidFill>
                  <a:srgbClr val="AD007C"/>
                </a:solidFill>
                <a:sym typeface="Wingdings" panose="05000000000000000000" pitchFamily="2" charset="2"/>
                <a:hlinkClick r:id="rId2"/>
              </a:rPr>
              <a:t>https://www.deutschlandstipendium.de/deutschlandstipendium/de/services/english/the-deutschlandstipendium-best-of-both-worlds-for-students</a:t>
            </a:r>
            <a:endParaRPr lang="de-DE" altLang="de-DE" sz="1800" i="1" dirty="0">
              <a:solidFill>
                <a:srgbClr val="AD007C"/>
              </a:solidFill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de-DE" altLang="de-DE" sz="1800" i="1" dirty="0">
                <a:solidFill>
                  <a:srgbClr val="AD007C"/>
                </a:solidFill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</a:t>
            </a:r>
            <a:r>
              <a:rPr lang="de-DE" altLang="de-DE" sz="1800" i="1" dirty="0">
                <a:solidFill>
                  <a:srgbClr val="061D28"/>
                </a:solidFill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https://www.uni-augsburg.de/de/studium/studieren-augsburg/stipendien/dasdeutschlandstipendium/</a:t>
            </a:r>
            <a:endParaRPr lang="de-DE" altLang="de-DE" sz="1800" i="1" dirty="0">
              <a:solidFill>
                <a:srgbClr val="AD007C"/>
              </a:solidFill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br>
              <a:rPr lang="de-DE" altLang="de-DE" i="1" dirty="0">
                <a:solidFill>
                  <a:srgbClr val="AD007C"/>
                </a:solidFill>
                <a:sym typeface="Wingdings" panose="05000000000000000000" pitchFamily="2" charset="2"/>
              </a:rPr>
            </a:br>
            <a:endParaRPr lang="de-DE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6E5CC1-AD0F-D80E-73E4-F944A46352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1405" y="2144110"/>
            <a:ext cx="2643700" cy="296898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8177BFF6-6890-3260-EF99-A4455A53CECA}"/>
              </a:ext>
            </a:extLst>
          </p:cNvPr>
          <p:cNvCxnSpPr>
            <a:cxnSpLocks/>
          </p:cNvCxnSpPr>
          <p:nvPr/>
        </p:nvCxnSpPr>
        <p:spPr>
          <a:xfrm flipV="1">
            <a:off x="6779172" y="3074276"/>
            <a:ext cx="2396359" cy="1891862"/>
          </a:xfrm>
          <a:prstGeom prst="straightConnector1">
            <a:avLst/>
          </a:prstGeom>
          <a:ln w="57150">
            <a:solidFill>
              <a:srgbClr val="AD00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225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cholarships from other funding sources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298480"/>
            <a:ext cx="10753200" cy="5007727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de-DE" dirty="0">
                <a:solidFill>
                  <a:srgbClr val="AD007C"/>
                </a:solidFill>
              </a:rPr>
              <a:t>A wide range of (political) foundations and associations</a:t>
            </a:r>
            <a:br>
              <a:rPr lang="de-DE" altLang="de-DE" dirty="0">
                <a:solidFill>
                  <a:schemeClr val="tx1"/>
                </a:solidFill>
              </a:rPr>
            </a:br>
            <a:r>
              <a:rPr lang="de-DE" altLang="de-DE" i="1" dirty="0">
                <a:solidFill>
                  <a:schemeClr val="tx1"/>
                </a:solidFill>
              </a:rPr>
              <a:t>Friedrich-Ebert-Stiftung, Hanns-Seidel-Stiftung, Konrad-Adenauer-Stiftung, Heinrich-Böll-Stiftung, Rosa-Luxemburg-Stiftung</a:t>
            </a:r>
            <a:br>
              <a:rPr lang="de-DE" altLang="de-DE" i="1" dirty="0">
                <a:solidFill>
                  <a:schemeClr val="tx1"/>
                </a:solidFill>
              </a:rPr>
            </a:br>
            <a:r>
              <a:rPr lang="de-DE" altLang="de-DE" i="1" dirty="0" err="1">
                <a:solidFill>
                  <a:schemeClr val="tx1"/>
                </a:solidFill>
              </a:rPr>
              <a:t>Cusanuswerk</a:t>
            </a:r>
            <a:r>
              <a:rPr lang="de-DE" altLang="de-DE" i="1" dirty="0">
                <a:solidFill>
                  <a:schemeClr val="tx1"/>
                </a:solidFill>
              </a:rPr>
              <a:t>, Evangelisches Studienwerk, Avicenna-Studienwerk</a:t>
            </a:r>
            <a:br>
              <a:rPr lang="de-DE" altLang="de-DE" i="1" dirty="0">
                <a:solidFill>
                  <a:schemeClr val="tx1"/>
                </a:solidFill>
              </a:rPr>
            </a:br>
            <a:r>
              <a:rPr lang="de-DE" altLang="de-DE" i="1" dirty="0">
                <a:solidFill>
                  <a:schemeClr val="tx1"/>
                </a:solidFill>
              </a:rPr>
              <a:t>Stifterverband für die Deutsche Wirtschaft, Stiftung der Deutschen Wirtschaft, DAAD</a:t>
            </a:r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765" dirty="0">
              <a:solidFill>
                <a:srgbClr val="0433FF"/>
              </a:solidFill>
              <a:latin typeface="Arial MT"/>
              <a:cs typeface="Arial MT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altLang="de-DE" dirty="0">
                <a:solidFill>
                  <a:srgbClr val="AD007C"/>
                </a:solidFill>
                <a:sym typeface="Wingdings" panose="05000000000000000000" pitchFamily="2" charset="2"/>
              </a:rPr>
              <a:t>A wide variety of databases; the most important ones:</a:t>
            </a:r>
            <a:br>
              <a:rPr lang="en-US" altLang="de-DE" dirty="0">
                <a:solidFill>
                  <a:srgbClr val="AD007C"/>
                </a:solidFill>
                <a:sym typeface="Wingdings" panose="05000000000000000000" pitchFamily="2" charset="2"/>
              </a:rPr>
            </a:b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- 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2"/>
              </a:rPr>
              <a:t>https://www2.daad.de/deutschland/stipendium/datenbank/en/21148-scholarship-database/</a:t>
            </a:r>
            <a:b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- 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3"/>
              </a:rPr>
              <a:t>www.stipendiumplus.de</a:t>
            </a:r>
            <a:b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</a:rPr>
              <a:t>- </a:t>
            </a:r>
            <a:r>
              <a:rPr lang="de-DE" altLang="de-DE" dirty="0">
                <a:solidFill>
                  <a:schemeClr val="tx1"/>
                </a:solidFill>
                <a:sym typeface="Wingdings" panose="05000000000000000000" pitchFamily="2" charset="2"/>
                <a:hlinkClick r:id="rId4"/>
              </a:rPr>
              <a:t>https://www.begabungslotse.de/themen/stipendi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09185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AföG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international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students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1" y="1394274"/>
            <a:ext cx="9670076" cy="5164181"/>
          </a:xfrm>
        </p:spPr>
        <p:txBody>
          <a:bodyPr/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BAföG –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B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undes-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A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usbildungs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fö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rderungs-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AD007C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G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esetz (=</a:t>
            </a: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 “Federal Law on Financial Assistance for Education”)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„Government </a:t>
            </a:r>
            <a:r>
              <a:rPr kumimoji="0" lang="de-DE" alt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funding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“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50% </a:t>
            </a:r>
            <a:r>
              <a:rPr kumimoji="0" lang="de-DE" alt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grant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 &amp; 50% </a:t>
            </a:r>
            <a:r>
              <a:rPr lang="de-DE" altLang="de-DE" dirty="0" err="1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interest-free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loan</a:t>
            </a: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up to 992 euros per month (depending on the parents' income, rent, etc.)</a:t>
            </a:r>
            <a:b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Loan repayment: five years after the end of the standard period of study, up to 10,010 euro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International students are also eligible for </a:t>
            </a:r>
            <a:r>
              <a:rPr lang="en-US" altLang="de-DE" dirty="0" err="1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BAföG</a:t>
            </a: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, though the requirements are strict </a:t>
            </a:r>
            <a:b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</a:br>
            <a:r>
              <a:rPr lang="en-US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de-DE" alt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anose="020B0600070205080204" pitchFamily="34" charset="-128"/>
                <a:cs typeface="+mn-cs"/>
              </a:rPr>
              <a:t>Contact: Studierendenwerk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Augsburg,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hlinkClick r:id="rId3"/>
              </a:rPr>
              <a:t>https://studierendenwerk-augsburg.de/bafoeg/</a:t>
            </a: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de-DE" altLang="de-DE" dirty="0">
              <a:solidFill>
                <a:srgbClr val="000000"/>
              </a:solidFill>
              <a:ea typeface="ＭＳ Ｐゴシック" panose="020B0600070205080204" pitchFamily="34" charset="-128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General </a:t>
            </a:r>
            <a:r>
              <a:rPr lang="de-DE" altLang="de-DE" dirty="0" err="1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information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: </a:t>
            </a:r>
            <a:b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</a:b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sym typeface="Wingdings" panose="05000000000000000000" pitchFamily="2" charset="2"/>
              </a:rPr>
              <a:t>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hlinkClick r:id="rId4"/>
              </a:rPr>
              <a:t>https://www.mystipendium.de/bafoeg/bafoeg-fuer-auslaender</a:t>
            </a:r>
            <a:b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</a:b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sym typeface="Wingdings" panose="05000000000000000000" pitchFamily="2" charset="2"/>
              </a:rPr>
              <a:t> 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  <a:hlinkClick r:id="rId5"/>
              </a:rPr>
              <a:t>https://www.stw.berlin/en/baf%C3%B6g/baf%C3%B6g-faq/20.-baf%C3%B6g-for-international-students.html</a:t>
            </a:r>
            <a:r>
              <a:rPr lang="de-DE" altLang="de-DE" dirty="0">
                <a:solidFill>
                  <a:srgbClr val="000000"/>
                </a:solidFill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F6AAD31-855C-4613-B3FB-74D8496612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03457" y="1781503"/>
            <a:ext cx="2594808" cy="1647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214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Einrichtungen, Kommunikation">
      <a:dk1>
        <a:sysClr val="windowText" lastClr="000000"/>
      </a:dk1>
      <a:lt1>
        <a:sysClr val="window" lastClr="FFFFFF"/>
      </a:lt1>
      <a:dk2>
        <a:srgbClr val="AD007C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WiWi" id="{7E59AA7B-5322-AB46-B792-6D0585BF3429}" vid="{BA5AD586-BAC6-6047-82C3-E239C9A49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sentationsmaster_vorlage_serviceeinrichtungen_kommunikation</Template>
  <TotalTime>0</TotalTime>
  <Words>1601</Words>
  <Application>Microsoft Office PowerPoint</Application>
  <PresentationFormat>Breitbild</PresentationFormat>
  <Paragraphs>139</Paragraphs>
  <Slides>25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5" baseType="lpstr">
      <vt:lpstr>ＭＳ Ｐゴシック</vt:lpstr>
      <vt:lpstr>Arial</vt:lpstr>
      <vt:lpstr>Arial MT</vt:lpstr>
      <vt:lpstr>Calibri</vt:lpstr>
      <vt:lpstr>Canva Sans</vt:lpstr>
      <vt:lpstr>Canva Sans Bold</vt:lpstr>
      <vt:lpstr>Segoe UI</vt:lpstr>
      <vt:lpstr>Symbol</vt:lpstr>
      <vt:lpstr>Wingdings</vt:lpstr>
      <vt:lpstr>Office</vt:lpstr>
      <vt:lpstr>Financing Your Studies</vt:lpstr>
      <vt:lpstr>PowerPoint-Präsentation</vt:lpstr>
      <vt:lpstr>Outline</vt:lpstr>
      <vt:lpstr>The (financial) situation of international students at German universities 1/2 </vt:lpstr>
      <vt:lpstr>The (financial) situation of international students at German universities 2/2 </vt:lpstr>
      <vt:lpstr>Cost of living in Augsburg</vt:lpstr>
      <vt:lpstr>Scholarships at the University of Augsburg</vt:lpstr>
      <vt:lpstr>Scholarships from other funding sources</vt:lpstr>
      <vt:lpstr>BAföG for international students</vt:lpstr>
      <vt:lpstr>Financial assistance in emergencies</vt:lpstr>
      <vt:lpstr>Student Jobs – Legal Basics</vt:lpstr>
      <vt:lpstr>Student assistant positions at the university 1/2</vt:lpstr>
      <vt:lpstr>Student assistant positions at the university 2/2</vt:lpstr>
      <vt:lpstr>Studierendenwerk: www.studierendenjobs.de</vt:lpstr>
      <vt:lpstr>Temporary employment agencies in Augsburg</vt:lpstr>
      <vt:lpstr>Digicampus: Job board</vt:lpstr>
      <vt:lpstr>Digicampus: Jobbörse</vt:lpstr>
      <vt:lpstr>Digicampus: Jobbörse</vt:lpstr>
      <vt:lpstr>Digicampus: Jobbörse</vt:lpstr>
      <vt:lpstr>Digicampus: Jobbörse</vt:lpstr>
      <vt:lpstr>Digicampus: Jobbörse</vt:lpstr>
      <vt:lpstr>Digicampus: Jobbörse</vt:lpstr>
      <vt:lpstr>University of Augsburg Job Portal: Internships &amp; Career Starts, Nationwide</vt:lpstr>
      <vt:lpstr>Career Service at the University of Augsbur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Birgit Reß</dc:creator>
  <cp:lastModifiedBy>Olivia Mannes</cp:lastModifiedBy>
  <cp:revision>163</cp:revision>
  <dcterms:created xsi:type="dcterms:W3CDTF">2021-08-24T14:00:05Z</dcterms:created>
  <dcterms:modified xsi:type="dcterms:W3CDTF">2026-03-24T11:03:43Z</dcterms:modified>
</cp:coreProperties>
</file>